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08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515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BA662-459E-8C9F-00AD-A7A8561A30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CD708BD-0394-D181-3826-49F0162A2E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D708BD-0394-D181-3826-49F0162A2E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23FEF1-97D5-F12C-750D-436601E55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B4B7CE8-724D-734C-3344-F75CE196B7B2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A6CBF2F-574B-89EA-0DEE-3E1F28E708C1}"/>
              </a:ext>
            </a:extLst>
          </p:cNvPr>
          <p:cNvGrpSpPr/>
          <p:nvPr/>
        </p:nvGrpSpPr>
        <p:grpSpPr>
          <a:xfrm>
            <a:off x="5552789" y="4168014"/>
            <a:ext cx="7327574" cy="4829638"/>
            <a:chOff x="4320512" y="3806913"/>
            <a:chExt cx="4005905" cy="2010776"/>
          </a:xfrm>
        </p:grpSpPr>
        <p:cxnSp>
          <p:nvCxnSpPr>
            <p:cNvPr id="66" name="Line">
              <a:extLst>
                <a:ext uri="{FF2B5EF4-FFF2-40B4-BE49-F238E27FC236}">
                  <a16:creationId xmlns:a16="http://schemas.microsoft.com/office/drawing/2014/main" id="{BFBFD05B-390C-F640-791E-E6262434FABE}"/>
                </a:ext>
              </a:extLst>
            </p:cNvPr>
            <p:cNvCxnSpPr/>
            <p:nvPr/>
          </p:nvCxnSpPr>
          <p:spPr>
            <a:xfrm flipH="1">
              <a:off x="4320512" y="3806913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Line">
              <a:extLst>
                <a:ext uri="{FF2B5EF4-FFF2-40B4-BE49-F238E27FC236}">
                  <a16:creationId xmlns:a16="http://schemas.microsoft.com/office/drawing/2014/main" id="{A47E253D-9FCA-59A7-2BE5-6E1F92845308}"/>
                </a:ext>
              </a:extLst>
            </p:cNvPr>
            <p:cNvCxnSpPr/>
            <p:nvPr/>
          </p:nvCxnSpPr>
          <p:spPr>
            <a:xfrm flipH="1">
              <a:off x="6290163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Line">
              <a:extLst>
                <a:ext uri="{FF2B5EF4-FFF2-40B4-BE49-F238E27FC236}">
                  <a16:creationId xmlns:a16="http://schemas.microsoft.com/office/drawing/2014/main" id="{F1E6F965-FB48-A79C-01E1-627F9AAEC73E}"/>
                </a:ext>
              </a:extLst>
            </p:cNvPr>
            <p:cNvCxnSpPr/>
            <p:nvPr/>
          </p:nvCxnSpPr>
          <p:spPr>
            <a:xfrm flipH="1">
              <a:off x="8306280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77E9C0A-08DB-62B8-2F35-8F79890F9320}"/>
              </a:ext>
            </a:extLst>
          </p:cNvPr>
          <p:cNvGrpSpPr/>
          <p:nvPr/>
        </p:nvGrpSpPr>
        <p:grpSpPr>
          <a:xfrm>
            <a:off x="1856616" y="1844936"/>
            <a:ext cx="13887768" cy="4341909"/>
            <a:chOff x="1869722" y="1127877"/>
            <a:chExt cx="5775466" cy="3323082"/>
          </a:xfrm>
        </p:grpSpPr>
        <p:sp>
          <p:nvSpPr>
            <p:cNvPr id="59" name="Freeform: Shape 4">
              <a:extLst>
                <a:ext uri="{FF2B5EF4-FFF2-40B4-BE49-F238E27FC236}">
                  <a16:creationId xmlns:a16="http://schemas.microsoft.com/office/drawing/2014/main" id="{E8E9F59A-E528-E02C-284E-D53A071A9619}"/>
                </a:ext>
              </a:extLst>
            </p:cNvPr>
            <p:cNvSpPr/>
            <p:nvPr/>
          </p:nvSpPr>
          <p:spPr>
            <a:xfrm rot="16200000">
              <a:off x="2891375" y="2022586"/>
              <a:ext cx="2557706" cy="1533661"/>
            </a:xfrm>
            <a:custGeom>
              <a:avLst/>
              <a:gdLst>
                <a:gd name="connsiteX0" fmla="*/ 0 w 3404699"/>
                <a:gd name="connsiteY0" fmla="*/ 0 h 677588"/>
                <a:gd name="connsiteX1" fmla="*/ 3404699 w 3404699"/>
                <a:gd name="connsiteY1" fmla="*/ 0 h 677588"/>
                <a:gd name="connsiteX2" fmla="*/ 2885871 w 3404699"/>
                <a:gd name="connsiteY2" fmla="*/ 677588 h 677588"/>
                <a:gd name="connsiteX3" fmla="*/ 518827 w 3404699"/>
                <a:gd name="connsiteY3" fmla="*/ 677588 h 677588"/>
                <a:gd name="connsiteX4" fmla="*/ 0 w 3404699"/>
                <a:gd name="connsiteY4" fmla="*/ 0 h 67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699" h="677588">
                  <a:moveTo>
                    <a:pt x="0" y="0"/>
                  </a:moveTo>
                  <a:lnTo>
                    <a:pt x="3404699" y="0"/>
                  </a:lnTo>
                  <a:lnTo>
                    <a:pt x="2885871" y="677588"/>
                  </a:lnTo>
                  <a:lnTo>
                    <a:pt x="518827" y="677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52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Freeform: Shape 5">
              <a:extLst>
                <a:ext uri="{FF2B5EF4-FFF2-40B4-BE49-F238E27FC236}">
                  <a16:creationId xmlns:a16="http://schemas.microsoft.com/office/drawing/2014/main" id="{FE9F9942-41E8-51D8-8EDE-93BF70582778}"/>
                </a:ext>
              </a:extLst>
            </p:cNvPr>
            <p:cNvSpPr/>
            <p:nvPr/>
          </p:nvSpPr>
          <p:spPr>
            <a:xfrm rot="16200000">
              <a:off x="4801016" y="2022586"/>
              <a:ext cx="1772578" cy="1533663"/>
            </a:xfrm>
            <a:custGeom>
              <a:avLst/>
              <a:gdLst>
                <a:gd name="connsiteX0" fmla="*/ 0 w 2250352"/>
                <a:gd name="connsiteY0" fmla="*/ 0 h 677589"/>
                <a:gd name="connsiteX1" fmla="*/ 2250352 w 2250352"/>
                <a:gd name="connsiteY1" fmla="*/ 0 h 677589"/>
                <a:gd name="connsiteX2" fmla="*/ 1731524 w 2250352"/>
                <a:gd name="connsiteY2" fmla="*/ 677589 h 677589"/>
                <a:gd name="connsiteX3" fmla="*/ 518829 w 2250352"/>
                <a:gd name="connsiteY3" fmla="*/ 677589 h 677589"/>
                <a:gd name="connsiteX4" fmla="*/ 0 w 2250352"/>
                <a:gd name="connsiteY4" fmla="*/ 0 h 67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0352" h="677589">
                  <a:moveTo>
                    <a:pt x="0" y="0"/>
                  </a:moveTo>
                  <a:lnTo>
                    <a:pt x="2250352" y="0"/>
                  </a:lnTo>
                  <a:lnTo>
                    <a:pt x="1731524" y="677589"/>
                  </a:lnTo>
                  <a:lnTo>
                    <a:pt x="518829" y="6775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52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Freeform: Shape 3">
              <a:extLst>
                <a:ext uri="{FF2B5EF4-FFF2-40B4-BE49-F238E27FC236}">
                  <a16:creationId xmlns:a16="http://schemas.microsoft.com/office/drawing/2014/main" id="{C6EFF6A3-D8BE-4C23-046B-C8E539C45311}"/>
                </a:ext>
              </a:extLst>
            </p:cNvPr>
            <p:cNvSpPr/>
            <p:nvPr/>
          </p:nvSpPr>
          <p:spPr>
            <a:xfrm rot="16200000">
              <a:off x="975012" y="2022587"/>
              <a:ext cx="3323082" cy="1533661"/>
            </a:xfrm>
            <a:custGeom>
              <a:avLst/>
              <a:gdLst>
                <a:gd name="connsiteX0" fmla="*/ 0 w 4559046"/>
                <a:gd name="connsiteY0" fmla="*/ 0 h 677588"/>
                <a:gd name="connsiteX1" fmla="*/ 4559046 w 4559046"/>
                <a:gd name="connsiteY1" fmla="*/ 0 h 677588"/>
                <a:gd name="connsiteX2" fmla="*/ 4040219 w 4559046"/>
                <a:gd name="connsiteY2" fmla="*/ 677588 h 677588"/>
                <a:gd name="connsiteX3" fmla="*/ 518828 w 4559046"/>
                <a:gd name="connsiteY3" fmla="*/ 677588 h 677588"/>
                <a:gd name="connsiteX4" fmla="*/ 0 w 4559046"/>
                <a:gd name="connsiteY4" fmla="*/ 0 h 67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9046" h="677588">
                  <a:moveTo>
                    <a:pt x="0" y="0"/>
                  </a:moveTo>
                  <a:lnTo>
                    <a:pt x="4559046" y="0"/>
                  </a:lnTo>
                  <a:lnTo>
                    <a:pt x="4040219" y="677588"/>
                  </a:lnTo>
                  <a:lnTo>
                    <a:pt x="518828" y="677588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52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Freeform: Shape 16">
              <a:extLst>
                <a:ext uri="{FF2B5EF4-FFF2-40B4-BE49-F238E27FC236}">
                  <a16:creationId xmlns:a16="http://schemas.microsoft.com/office/drawing/2014/main" id="{59077C6D-0071-87FB-44E2-0193DEB8F070}"/>
                </a:ext>
              </a:extLst>
            </p:cNvPr>
            <p:cNvSpPr/>
            <p:nvPr/>
          </p:nvSpPr>
          <p:spPr>
            <a:xfrm rot="16200000">
              <a:off x="6577400" y="2200012"/>
              <a:ext cx="944530" cy="1191047"/>
            </a:xfrm>
            <a:custGeom>
              <a:avLst/>
              <a:gdLst>
                <a:gd name="connsiteX0" fmla="*/ 984780 w 984780"/>
                <a:gd name="connsiteY0" fmla="*/ 0 h 1215382"/>
                <a:gd name="connsiteX1" fmla="*/ 622746 w 984780"/>
                <a:gd name="connsiteY1" fmla="*/ 1215382 h 1215382"/>
                <a:gd name="connsiteX2" fmla="*/ 362034 w 984780"/>
                <a:gd name="connsiteY2" fmla="*/ 1215382 h 1215382"/>
                <a:gd name="connsiteX3" fmla="*/ 0 w 984780"/>
                <a:gd name="connsiteY3" fmla="*/ 0 h 121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780" h="1215382">
                  <a:moveTo>
                    <a:pt x="984780" y="0"/>
                  </a:moveTo>
                  <a:lnTo>
                    <a:pt x="622746" y="1215382"/>
                  </a:lnTo>
                  <a:lnTo>
                    <a:pt x="362034" y="12153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2352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Isosceles Triangle 12">
              <a:extLst>
                <a:ext uri="{FF2B5EF4-FFF2-40B4-BE49-F238E27FC236}">
                  <a16:creationId xmlns:a16="http://schemas.microsoft.com/office/drawing/2014/main" id="{90D5B0DA-7146-C692-9D84-7B412EFF0E95}"/>
                </a:ext>
              </a:extLst>
            </p:cNvPr>
            <p:cNvSpPr/>
            <p:nvPr/>
          </p:nvSpPr>
          <p:spPr>
            <a:xfrm rot="5400000">
              <a:off x="3275531" y="2716835"/>
              <a:ext cx="360954" cy="145162"/>
            </a:xfrm>
            <a:prstGeom prst="triangl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52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Isosceles Triangle 13">
              <a:extLst>
                <a:ext uri="{FF2B5EF4-FFF2-40B4-BE49-F238E27FC236}">
                  <a16:creationId xmlns:a16="http://schemas.microsoft.com/office/drawing/2014/main" id="{5D1EA202-0C19-22A9-55ED-FB7D36B76258}"/>
                </a:ext>
              </a:extLst>
            </p:cNvPr>
            <p:cNvSpPr/>
            <p:nvPr/>
          </p:nvSpPr>
          <p:spPr>
            <a:xfrm rot="5400000">
              <a:off x="4818875" y="2716835"/>
              <a:ext cx="360954" cy="145162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52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Isosceles Triangle 14">
              <a:extLst>
                <a:ext uri="{FF2B5EF4-FFF2-40B4-BE49-F238E27FC236}">
                  <a16:creationId xmlns:a16="http://schemas.microsoft.com/office/drawing/2014/main" id="{1213B469-3C43-522A-3D2F-056A39E664E5}"/>
                </a:ext>
              </a:extLst>
            </p:cNvPr>
            <p:cNvSpPr/>
            <p:nvPr/>
          </p:nvSpPr>
          <p:spPr>
            <a:xfrm rot="5400000">
              <a:off x="6340868" y="2716835"/>
              <a:ext cx="360954" cy="145162"/>
            </a:xfrm>
            <a:prstGeom prst="triangl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52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3E25431-7D45-AC81-900B-EFEC408853C6}"/>
              </a:ext>
            </a:extLst>
          </p:cNvPr>
          <p:cNvGrpSpPr>
            <a:grpSpLocks noChangeAspect="1"/>
          </p:cNvGrpSpPr>
          <p:nvPr/>
        </p:nvGrpSpPr>
        <p:grpSpPr>
          <a:xfrm>
            <a:off x="6762564" y="3571574"/>
            <a:ext cx="933585" cy="888633"/>
            <a:chOff x="6719888" y="887413"/>
            <a:chExt cx="492125" cy="468312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ADDE8EC9-5A1E-32CE-E36C-022613522E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53" name="Freeform 22">
              <a:extLst>
                <a:ext uri="{FF2B5EF4-FFF2-40B4-BE49-F238E27FC236}">
                  <a16:creationId xmlns:a16="http://schemas.microsoft.com/office/drawing/2014/main" id="{33A4488D-121E-9E8C-1C77-A3069EE336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54" name="Freeform 23">
              <a:extLst>
                <a:ext uri="{FF2B5EF4-FFF2-40B4-BE49-F238E27FC236}">
                  <a16:creationId xmlns:a16="http://schemas.microsoft.com/office/drawing/2014/main" id="{1A91DA74-8D57-1CBF-0B2F-1817EDD15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F536E481-70D3-21C8-8A73-D09944183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A11C82C3-4573-C928-2092-AE4FD3C60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35A1B680-4C07-F2CF-B545-FAC2AEF14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</p:grpSp>
      <p:sp>
        <p:nvSpPr>
          <p:cNvPr id="28" name="Freeform 27">
            <a:extLst>
              <a:ext uri="{FF2B5EF4-FFF2-40B4-BE49-F238E27FC236}">
                <a16:creationId xmlns:a16="http://schemas.microsoft.com/office/drawing/2014/main" id="{07AD43B8-0C75-7660-CB9B-E775804DC33B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3696015" y="3444527"/>
            <a:ext cx="620652" cy="1142727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137133" tIns="68567" rIns="137133" bIns="68567" numCol="1" anchor="t" anchorCtr="0" compatLnSpc="1">
            <a:prstTxWarp prst="textNoShape">
              <a:avLst/>
            </a:prstTxWarp>
          </a:bodyPr>
          <a:lstStyle/>
          <a:p>
            <a:endParaRPr lang="id-ID" sz="1260" dirty="0">
              <a:solidFill>
                <a:schemeClr val="tx2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7E4BD95-89A4-E64E-B48B-1427EB6EF477}"/>
              </a:ext>
            </a:extLst>
          </p:cNvPr>
          <p:cNvGrpSpPr>
            <a:grpSpLocks noChangeAspect="1"/>
          </p:cNvGrpSpPr>
          <p:nvPr/>
        </p:nvGrpSpPr>
        <p:grpSpPr>
          <a:xfrm>
            <a:off x="13642767" y="3781707"/>
            <a:ext cx="293472" cy="468366"/>
            <a:chOff x="6513513" y="557213"/>
            <a:chExt cx="471488" cy="752475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8A2932E0-FC59-DC3E-A292-F523F2EAC4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260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9E74AAF2-20CE-EC0F-B050-82D13E842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26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A5C0036-32F4-D50E-51F2-B8EFC9276F6D}"/>
              </a:ext>
            </a:extLst>
          </p:cNvPr>
          <p:cNvGrpSpPr/>
          <p:nvPr/>
        </p:nvGrpSpPr>
        <p:grpSpPr>
          <a:xfrm>
            <a:off x="10537844" y="3667707"/>
            <a:ext cx="802404" cy="696366"/>
            <a:chOff x="8783638" y="1235076"/>
            <a:chExt cx="360363" cy="312738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8" name="Freeform 51">
              <a:extLst>
                <a:ext uri="{FF2B5EF4-FFF2-40B4-BE49-F238E27FC236}">
                  <a16:creationId xmlns:a16="http://schemas.microsoft.com/office/drawing/2014/main" id="{91AE79F2-AB2E-7A7A-1050-8D06C12E83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700"/>
            </a:p>
          </p:txBody>
        </p:sp>
        <p:sp>
          <p:nvSpPr>
            <p:cNvPr id="49" name="Freeform 52">
              <a:extLst>
                <a:ext uri="{FF2B5EF4-FFF2-40B4-BE49-F238E27FC236}">
                  <a16:creationId xmlns:a16="http://schemas.microsoft.com/office/drawing/2014/main" id="{6FAD22A4-050F-AC48-F0C0-D43AAA937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700"/>
            </a:p>
          </p:txBody>
        </p:sp>
      </p:grpSp>
      <p:sp>
        <p:nvSpPr>
          <p:cNvPr id="31" name="Inhaltsplatzhalter 4">
            <a:extLst>
              <a:ext uri="{FF2B5EF4-FFF2-40B4-BE49-F238E27FC236}">
                <a16:creationId xmlns:a16="http://schemas.microsoft.com/office/drawing/2014/main" id="{D6E422B7-DAE2-E3A4-A0C1-2F73390153B3}"/>
              </a:ext>
            </a:extLst>
          </p:cNvPr>
          <p:cNvSpPr txBox="1">
            <a:spLocks/>
          </p:cNvSpPr>
          <p:nvPr/>
        </p:nvSpPr>
        <p:spPr>
          <a:xfrm>
            <a:off x="5804756" y="6949142"/>
            <a:ext cx="3167376" cy="16850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2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800"/>
              </a:spcAft>
              <a:buNone/>
            </a:pPr>
            <a:br>
              <a:rPr lang="en-US" sz="21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65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2" name="Inhaltsplatzhalter 4">
            <a:extLst>
              <a:ext uri="{FF2B5EF4-FFF2-40B4-BE49-F238E27FC236}">
                <a16:creationId xmlns:a16="http://schemas.microsoft.com/office/drawing/2014/main" id="{DFC5D295-BF4F-E704-6CBC-76C6814BBFF3}"/>
              </a:ext>
            </a:extLst>
          </p:cNvPr>
          <p:cNvSpPr txBox="1">
            <a:spLocks/>
          </p:cNvSpPr>
          <p:nvPr/>
        </p:nvSpPr>
        <p:spPr>
          <a:xfrm flipH="1">
            <a:off x="12983459" y="6949142"/>
            <a:ext cx="3201422" cy="16850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4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800"/>
              </a:spcAft>
              <a:buNone/>
            </a:pPr>
            <a:br>
              <a:rPr lang="en-US" sz="2100" b="1" dirty="0">
                <a:solidFill>
                  <a:schemeClr val="accent2"/>
                </a:solidFill>
                <a:latin typeface="+mn-lt"/>
              </a:rPr>
            </a:br>
            <a:r>
              <a:rPr lang="en-US" sz="165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3" name="Inhaltsplatzhalter 4">
            <a:extLst>
              <a:ext uri="{FF2B5EF4-FFF2-40B4-BE49-F238E27FC236}">
                <a16:creationId xmlns:a16="http://schemas.microsoft.com/office/drawing/2014/main" id="{504FECFA-06B0-689D-C6B5-2FB82F7711A2}"/>
              </a:ext>
            </a:extLst>
          </p:cNvPr>
          <p:cNvSpPr txBox="1">
            <a:spLocks/>
          </p:cNvSpPr>
          <p:nvPr/>
        </p:nvSpPr>
        <p:spPr>
          <a:xfrm flipH="1">
            <a:off x="2090135" y="6949142"/>
            <a:ext cx="3220826" cy="16850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1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800"/>
              </a:spcAft>
              <a:buNone/>
            </a:pPr>
            <a:br>
              <a:rPr lang="en-US" sz="2100" b="1" dirty="0">
                <a:solidFill>
                  <a:schemeClr val="accent2"/>
                </a:solidFill>
                <a:latin typeface="+mn-lt"/>
              </a:rPr>
            </a:br>
            <a:r>
              <a:rPr lang="en-US" sz="165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D0182885-474B-2BC1-3981-CBA743E01E6F}"/>
              </a:ext>
            </a:extLst>
          </p:cNvPr>
          <p:cNvSpPr txBox="1">
            <a:spLocks/>
          </p:cNvSpPr>
          <p:nvPr/>
        </p:nvSpPr>
        <p:spPr>
          <a:xfrm>
            <a:off x="9434325" y="6949142"/>
            <a:ext cx="3167376" cy="16850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3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800"/>
              </a:spcAft>
              <a:buNone/>
            </a:pPr>
            <a:br>
              <a:rPr lang="en-US" sz="21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65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40040316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6</TotalTime>
  <Words>106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51</cp:revision>
  <dcterms:created xsi:type="dcterms:W3CDTF">2006-08-16T00:00:00Z</dcterms:created>
  <dcterms:modified xsi:type="dcterms:W3CDTF">2025-10-06T10:42:58Z</dcterms:modified>
  <cp:category/>
  <dc:identifier>DAGkDf5R9EM</dc:identifier>
</cp:coreProperties>
</file>